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6"/>
  </p:notesMasterIdLst>
  <p:sldIdLst>
    <p:sldId id="11468" r:id="rId2"/>
    <p:sldId id="11330" r:id="rId3"/>
    <p:sldId id="11275" r:id="rId4"/>
    <p:sldId id="11398" r:id="rId5"/>
    <p:sldId id="11241" r:id="rId6"/>
    <p:sldId id="11437" r:id="rId7"/>
    <p:sldId id="11438" r:id="rId8"/>
    <p:sldId id="11445" r:id="rId9"/>
    <p:sldId id="11224" r:id="rId10"/>
    <p:sldId id="11198" r:id="rId11"/>
    <p:sldId id="11446" r:id="rId12"/>
    <p:sldId id="11304" r:id="rId13"/>
    <p:sldId id="11287" r:id="rId14"/>
    <p:sldId id="11448" r:id="rId15"/>
    <p:sldId id="11447" r:id="rId16"/>
    <p:sldId id="316" r:id="rId17"/>
    <p:sldId id="434" r:id="rId18"/>
    <p:sldId id="11476" r:id="rId19"/>
    <p:sldId id="279" r:id="rId20"/>
    <p:sldId id="11467" r:id="rId21"/>
    <p:sldId id="274" r:id="rId22"/>
    <p:sldId id="11459" r:id="rId23"/>
    <p:sldId id="11456" r:id="rId24"/>
    <p:sldId id="11450" r:id="rId25"/>
    <p:sldId id="11308" r:id="rId26"/>
    <p:sldId id="302" r:id="rId27"/>
    <p:sldId id="11324" r:id="rId28"/>
    <p:sldId id="11451" r:id="rId29"/>
    <p:sldId id="11300" r:id="rId30"/>
    <p:sldId id="11247" r:id="rId31"/>
    <p:sldId id="11303" r:id="rId32"/>
    <p:sldId id="11250" r:id="rId33"/>
    <p:sldId id="11270" r:id="rId34"/>
    <p:sldId id="11271" r:id="rId35"/>
    <p:sldId id="11272" r:id="rId36"/>
    <p:sldId id="11471" r:id="rId37"/>
    <p:sldId id="11452" r:id="rId38"/>
    <p:sldId id="11469" r:id="rId39"/>
    <p:sldId id="11327" r:id="rId40"/>
    <p:sldId id="11473" r:id="rId41"/>
    <p:sldId id="11299" r:id="rId42"/>
    <p:sldId id="11474" r:id="rId43"/>
    <p:sldId id="310" r:id="rId44"/>
    <p:sldId id="11475" r:id="rId45"/>
    <p:sldId id="11472" r:id="rId46"/>
    <p:sldId id="11458" r:id="rId47"/>
    <p:sldId id="11454" r:id="rId48"/>
    <p:sldId id="11455" r:id="rId49"/>
    <p:sldId id="11321" r:id="rId50"/>
    <p:sldId id="11316" r:id="rId51"/>
    <p:sldId id="11478" r:id="rId52"/>
    <p:sldId id="11460" r:id="rId53"/>
    <p:sldId id="11461" r:id="rId54"/>
    <p:sldId id="11477" r:id="rId55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377" autoAdjust="0"/>
    <p:restoredTop sz="76537" autoAdjust="0"/>
  </p:normalViewPr>
  <p:slideViewPr>
    <p:cSldViewPr snapToGrid="0">
      <p:cViewPr varScale="1">
        <p:scale>
          <a:sx n="87" d="100"/>
          <a:sy n="87" d="100"/>
        </p:scale>
        <p:origin x="344" y="184"/>
      </p:cViewPr>
      <p:guideLst/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35" d="100"/>
        <a:sy n="13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viewProps" Target="viewProps.xml"/><Relationship Id="rId5" Type="http://schemas.openxmlformats.org/officeDocument/2006/relationships/slide" Target="slides/slide4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theme" Target="theme/theme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presProps" Target="presProps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11DDDF-8473-4A6C-BF0B-132F6CD442CB}" type="datetimeFigureOut">
              <a:rPr lang="ru-RU" smtClean="0"/>
              <a:t>19.05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B05484-B897-4748-8209-17391D02FBC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153055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42D82C-9AB8-49D1-AFC8-48424E63483C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535623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2 млрд тонн сахарной свеклы и тростника</a:t>
            </a:r>
          </a:p>
          <a:p>
            <a:r>
              <a:rPr lang="ru-RU" dirty="0"/>
              <a:t>Из 11 млрд тонн еды;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B05484-B897-4748-8209-17391D02FBC0}" type="slidenum">
              <a:rPr lang="ru-RU" smtClean="0"/>
              <a:t>3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703238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B05484-B897-4748-8209-17391D02FBC0}" type="slidenum">
              <a:rPr lang="ru-RU" smtClean="0"/>
              <a:t>4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3047287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B05484-B897-4748-8209-17391D02FBC0}" type="slidenum">
              <a:rPr lang="ru-RU" smtClean="0"/>
              <a:t>4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2472095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Коллапс</a:t>
            </a:r>
          </a:p>
          <a:p>
            <a:r>
              <a:rPr lang="ru-RU" dirty="0" err="1"/>
              <a:t>Пррцветание</a:t>
            </a:r>
            <a:endParaRPr lang="ru-RU" dirty="0"/>
          </a:p>
          <a:p>
            <a:r>
              <a:rPr lang="ru-RU" dirty="0"/>
              <a:t>Мы создадим устойчивую систему для 10 млрд. Мы все понимаем и знаем ч</a:t>
            </a:r>
          </a:p>
          <a:p>
            <a:r>
              <a:rPr lang="ru-RU" dirty="0"/>
              <a:t>Четвертая повестка – ОТВЕТА НЕТ. ЕГО НАДО ИСКАТ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B05484-B897-4748-8209-17391D02FBC0}" type="slidenum">
              <a:rPr lang="ru-RU" smtClean="0"/>
              <a:t>4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3638473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Коллапс</a:t>
            </a:r>
          </a:p>
          <a:p>
            <a:r>
              <a:rPr lang="ru-RU" dirty="0" err="1"/>
              <a:t>Пррцветание</a:t>
            </a:r>
            <a:endParaRPr lang="ru-RU" dirty="0"/>
          </a:p>
          <a:p>
            <a:r>
              <a:rPr lang="ru-RU" dirty="0"/>
              <a:t>Мы создадим устойчивую систему для 10 млрд. Мы все понимаем и знаем ч</a:t>
            </a:r>
          </a:p>
          <a:p>
            <a:r>
              <a:rPr lang="ru-RU" dirty="0"/>
              <a:t>Четвертая повестка – ОТВЕТА НЕТ. ЕГО НАДО ИСКАТ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B05484-B897-4748-8209-17391D02FBC0}" type="slidenum">
              <a:rPr lang="ru-RU" smtClean="0"/>
              <a:t>4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5093899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42D82C-9AB8-49D1-AFC8-48424E63483C}" type="slidenum">
              <a:rPr lang="ru-RU" smtClean="0"/>
              <a:t>4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843718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НЕ ПЕРЕВОДИМ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42D82C-9AB8-49D1-AFC8-48424E63483C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847453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добавить </a:t>
            </a:r>
            <a:r>
              <a:rPr lang="ru-RU" dirty="0" err="1"/>
              <a:t>килокал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B05484-B897-4748-8209-17391D02FBC0}" type="slidenum">
              <a:rPr lang="ru-RU" smtClean="0"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733338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Химия</a:t>
            </a:r>
          </a:p>
          <a:p>
            <a:r>
              <a:rPr lang="ru-RU" dirty="0"/>
              <a:t>Механизация</a:t>
            </a:r>
          </a:p>
          <a:p>
            <a:r>
              <a:rPr lang="ru-RU" dirty="0"/>
              <a:t>Ирригация</a:t>
            </a:r>
          </a:p>
          <a:p>
            <a:r>
              <a:rPr lang="ru-RU" dirty="0"/>
              <a:t>Монокультуры (нобелевская премия </a:t>
            </a:r>
            <a:r>
              <a:rPr lang="ru-RU" dirty="0" err="1"/>
              <a:t>Борлауга</a:t>
            </a:r>
            <a:r>
              <a:rPr lang="ru-RU" dirty="0"/>
              <a:t> за короткоствольную пшеницу и рис)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B05484-B897-4748-8209-17391D02FBC0}" type="slidenum">
              <a:rPr lang="ru-RU" smtClean="0"/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53885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Все говорят о климатическом </a:t>
            </a:r>
            <a:r>
              <a:rPr lang="ru-RU" dirty="0" err="1"/>
              <a:t>крищисе</a:t>
            </a:r>
            <a:endParaRPr lang="ru-RU" dirty="0"/>
          </a:p>
          <a:p>
            <a:endParaRPr lang="ru-RU" dirty="0"/>
          </a:p>
          <a:p>
            <a:r>
              <a:rPr lang="ru-RU" dirty="0"/>
              <a:t>Но когда разберемся, на первый план </a:t>
            </a:r>
            <a:r>
              <a:rPr lang="ru-RU" dirty="0" err="1"/>
              <a:t>выдйите</a:t>
            </a:r>
            <a:r>
              <a:rPr lang="ru-RU" dirty="0"/>
              <a:t> </a:t>
            </a:r>
            <a:r>
              <a:rPr lang="ru-RU" dirty="0" err="1"/>
              <a:t>вымиранеи</a:t>
            </a:r>
            <a:r>
              <a:rPr lang="ru-RU" dirty="0"/>
              <a:t> видов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B05484-B897-4748-8209-17391D02FBC0}" type="slidenum">
              <a:rPr lang="ru-RU" smtClean="0"/>
              <a:t>2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324858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Изменение климата которое заставит изменить все базовые технологии продовольственного сектора</a:t>
            </a:r>
          </a:p>
          <a:p>
            <a:endParaRPr lang="ru-RU" dirty="0"/>
          </a:p>
          <a:p>
            <a:endParaRPr lang="ru-RU" dirty="0"/>
          </a:p>
          <a:p>
            <a:r>
              <a:rPr lang="ru-RU" dirty="0"/>
              <a:t>Изменение климата – две стороны</a:t>
            </a:r>
          </a:p>
          <a:p>
            <a:r>
              <a:rPr lang="ru-RU" dirty="0"/>
              <a:t>То что </a:t>
            </a:r>
            <a:r>
              <a:rPr lang="ru-RU" dirty="0" err="1"/>
              <a:t>булдет</a:t>
            </a:r>
            <a:r>
              <a:rPr lang="ru-RU" dirty="0"/>
              <a:t> влиять. </a:t>
            </a:r>
          </a:p>
          <a:p>
            <a:r>
              <a:rPr lang="ru-RU" dirty="0"/>
              <a:t>Второе – </a:t>
            </a:r>
            <a:r>
              <a:rPr lang="ru-RU" dirty="0" err="1"/>
              <a:t>прилется</a:t>
            </a:r>
            <a:r>
              <a:rPr lang="ru-RU" dirty="0"/>
              <a:t> отказаться от ряда технологий </a:t>
            </a:r>
            <a:r>
              <a:rPr lang="ru-RU" dirty="0" err="1"/>
              <a:t>эммитентов</a:t>
            </a:r>
            <a:endParaRPr lang="ru-RU" dirty="0"/>
          </a:p>
          <a:p>
            <a:endParaRPr lang="ru-RU" dirty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B05484-B897-4748-8209-17391D02FBC0}" type="slidenum">
              <a:rPr lang="ru-RU" smtClean="0"/>
              <a:t>2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6639167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>
                <a:effectLst/>
                <a:latin typeface="Helvetica Neue" panose="02000503000000020004" pitchFamily="2" charset="0"/>
              </a:rPr>
              <a:t>слайд 27 </a:t>
            </a:r>
          </a:p>
          <a:p>
            <a:r>
              <a:rPr lang="ru-RU" dirty="0">
                <a:effectLst/>
                <a:latin typeface="Helvetica Neue" panose="02000503000000020004" pitchFamily="2" charset="0"/>
              </a:rPr>
              <a:t>- я бы п. 1 поставил "Климат" - надо обнулить выбросы ПГ!</a:t>
            </a:r>
          </a:p>
          <a:p>
            <a:r>
              <a:rPr lang="ru-RU" dirty="0">
                <a:effectLst/>
                <a:latin typeface="Helvetica Neue" panose="02000503000000020004" pitchFamily="2" charset="0"/>
              </a:rPr>
              <a:t>Для этого - самое важное - решить 3 задачи! (главные источники выбросов) </a:t>
            </a:r>
          </a:p>
          <a:p>
            <a:r>
              <a:rPr lang="ru-RU" dirty="0">
                <a:effectLst/>
                <a:latin typeface="Helvetica Neue" panose="02000503000000020004" pitchFamily="2" charset="0"/>
              </a:rPr>
              <a:t>- найти "РЕШЕНИЯ" - "Либо убить животноводство", Либо "Заставить/Мотивировать миллиарды перейти от потребления 60-90 кг мяса/чел/год к 30 кг/чел/год", Либо "Уговорить/ Сделать супер-продукт - перейти на Заменители мяса"</a:t>
            </a:r>
          </a:p>
          <a:p>
            <a:r>
              <a:rPr lang="ru-RU" dirty="0">
                <a:effectLst/>
                <a:latin typeface="Helvetica Neue" panose="02000503000000020004" pitchFamily="2" charset="0"/>
              </a:rPr>
              <a:t>2е - Чем заменить Азотные удобрения!?</a:t>
            </a:r>
          </a:p>
          <a:p>
            <a:r>
              <a:rPr lang="ru-RU" dirty="0">
                <a:effectLst/>
                <a:latin typeface="Helvetica Neue" panose="02000503000000020004" pitchFamily="2" charset="0"/>
              </a:rPr>
              <a:t>3е - как значительно сократить Пищевые отходы (сократить в 2 раза - мечта ФАО)</a:t>
            </a:r>
          </a:p>
          <a:p>
            <a:br>
              <a:rPr lang="ru-RU" dirty="0">
                <a:effectLst/>
                <a:latin typeface="Helvetica Neue" panose="02000503000000020004" pitchFamily="2" charset="0"/>
              </a:rPr>
            </a:br>
            <a:endParaRPr lang="ru-RU" dirty="0">
              <a:effectLst/>
              <a:latin typeface="Helvetica Neue" panose="02000503000000020004" pitchFamily="2" charset="0"/>
            </a:endParaRPr>
          </a:p>
          <a:p>
            <a:r>
              <a:rPr lang="ru-RU" dirty="0">
                <a:effectLst/>
                <a:latin typeface="Helvetica Neue" panose="02000503000000020004" pitchFamily="2" charset="0"/>
              </a:rPr>
              <a:t>В третьем </a:t>
            </a:r>
            <a:r>
              <a:rPr lang="ru-RU" dirty="0" err="1">
                <a:effectLst/>
                <a:latin typeface="Helvetica Neue" panose="02000503000000020004" pitchFamily="2" charset="0"/>
              </a:rPr>
              <a:t>буллете</a:t>
            </a:r>
            <a:r>
              <a:rPr lang="ru-RU" dirty="0">
                <a:effectLst/>
                <a:latin typeface="Helvetica Neue" panose="02000503000000020004" pitchFamily="2" charset="0"/>
              </a:rPr>
              <a:t> - надо убрать про климат - тут речь идет именно про "</a:t>
            </a:r>
            <a:r>
              <a:rPr lang="ru-RU" dirty="0" err="1">
                <a:effectLst/>
                <a:latin typeface="Helvetica Neue" panose="02000503000000020004" pitchFamily="2" charset="0"/>
              </a:rPr>
              <a:t>дисрапты</a:t>
            </a:r>
            <a:r>
              <a:rPr lang="ru-RU" dirty="0">
                <a:effectLst/>
                <a:latin typeface="Helvetica Neue" panose="02000503000000020004" pitchFamily="2" charset="0"/>
              </a:rPr>
              <a:t> "Тони </a:t>
            </a:r>
            <a:r>
              <a:rPr lang="ru-RU" dirty="0" err="1">
                <a:effectLst/>
                <a:latin typeface="Helvetica Neue" panose="02000503000000020004" pitchFamily="2" charset="0"/>
              </a:rPr>
              <a:t>Себа</a:t>
            </a:r>
            <a:r>
              <a:rPr lang="ru-RU" dirty="0">
                <a:effectLst/>
                <a:latin typeface="Helvetica Neue" panose="02000503000000020004" pitchFamily="2" charset="0"/>
              </a:rPr>
              <a:t>", то есть то, что может "естественным образом" угробить целые сектора в традиционном с/х, типа </a:t>
            </a:r>
            <a:r>
              <a:rPr lang="ru-RU" dirty="0" err="1">
                <a:effectLst/>
                <a:latin typeface="Helvetica Neue" panose="02000503000000020004" pitchFamily="2" charset="0"/>
              </a:rPr>
              <a:t>молочки</a:t>
            </a:r>
            <a:r>
              <a:rPr lang="ru-RU" dirty="0">
                <a:effectLst/>
                <a:latin typeface="Helvetica Neue" panose="02000503000000020004" pitchFamily="2" charset="0"/>
              </a:rPr>
              <a:t> и мяса-рыба (</a:t>
            </a:r>
            <a:r>
              <a:rPr lang="en" dirty="0">
                <a:effectLst/>
                <a:latin typeface="Helvetica Neue" panose="02000503000000020004" pitchFamily="2" charset="0"/>
              </a:rPr>
              <a:t>PFCB) - </a:t>
            </a:r>
            <a:r>
              <a:rPr lang="ru-RU" dirty="0">
                <a:effectLst/>
                <a:latin typeface="Helvetica Neue" panose="02000503000000020004" pitchFamily="2" charset="0"/>
              </a:rPr>
              <a:t>и при этом стать "частью решений климата и здоровья природы и людей"</a:t>
            </a:r>
          </a:p>
          <a:p>
            <a:endParaRPr lang="ru-RU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B05484-B897-4748-8209-17391D02FBC0}" type="slidenum">
              <a:rPr lang="ru-RU" smtClean="0"/>
              <a:t>2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2822967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42D82C-9AB8-49D1-AFC8-48424E63483C}" type="slidenum">
              <a:rPr lang="ru-RU" smtClean="0"/>
              <a:t>3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546280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2 млрд тонн сахарной свеклы и тростника</a:t>
            </a:r>
          </a:p>
          <a:p>
            <a:r>
              <a:rPr lang="ru-RU" dirty="0"/>
              <a:t>Из 11 млрд тонн еды;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B05484-B897-4748-8209-17391D02FBC0}" type="slidenum">
              <a:rPr lang="ru-RU" smtClean="0"/>
              <a:t>3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644323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A557880-02C1-4D8C-9F24-146072FD3B7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54A1CB7E-7CB6-4FBB-B03E-2D81CB68441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9C5B2257-771D-4BAF-A54D-76BD43ED3E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A54CC1-189D-414A-B50C-A05764C42319}" type="datetimeFigureOut">
              <a:rPr lang="ru-RU" smtClean="0"/>
              <a:t>19.05.2023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3B1FE66-F3AE-45C9-AD27-6BB8F8C44E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E4A928B-782B-4987-8293-836E2D59D7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8D7B7F-3AFC-4755-B62F-F48524B8F362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238562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BAB8399-8935-4EF9-9562-712F1515DE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35BF43D9-C398-4649-80B6-05344E87491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4F80316B-18C4-4125-8073-BBA8039273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A54CC1-189D-414A-B50C-A05764C42319}" type="datetimeFigureOut">
              <a:rPr lang="ru-RU" smtClean="0"/>
              <a:t>19.05.2023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C0E156CF-6B53-4357-90CC-164F216789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3AAF287-E3F0-4168-95A2-FC3C69A3E5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8D7B7F-3AFC-4755-B62F-F48524B8F362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956050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1EE7BBA7-DDD2-40C8-B65B-0909F80A4B5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6731A23C-CB6D-48D3-9B16-7FF27C553C7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69F1C4B-FF88-421A-AC26-E76C761C85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A54CC1-189D-414A-B50C-A05764C42319}" type="datetimeFigureOut">
              <a:rPr lang="ru-RU" smtClean="0"/>
              <a:t>19.05.2023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9FD29625-32EE-4FA1-B1AB-280622227E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1123A2E-DFE9-4E5E-9483-4843383506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8D7B7F-3AFC-4755-B62F-F48524B8F362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328145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ьни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01C39159-856A-4455-B00A-9B2377BA2CC2}"/>
              </a:ext>
            </a:extLst>
          </p:cNvPr>
          <p:cNvSpPr/>
          <p:nvPr userDrawn="1"/>
        </p:nvSpPr>
        <p:spPr>
          <a:xfrm>
            <a:off x="-1" y="0"/>
            <a:ext cx="12192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6143410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2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8925080"/>
              </p:ext>
            </p:extLst>
          </p:nvPr>
        </p:nvGraphicFramePr>
        <p:xfrm>
          <a:off x="2120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29" imgH="229" progId="TCLayout.ActiveDocument.1">
                  <p:embed/>
                </p:oleObj>
              </mc:Choice>
              <mc:Fallback>
                <p:oleObj name="Слайд think-cell" r:id="rId3" imgW="229" imgH="229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4DF74B9B-F0E6-4D37-82D0-A78B781C51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2400" y="6356350"/>
            <a:ext cx="4572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fld id="{EE4733C1-37BA-405E-8629-A2E0ACC5E47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178535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52A222F-C0AD-4C34-A105-2182535668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A9766AF5-8E21-405C-9DA6-2EBA4A68AE9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92A3BA7B-9677-40DF-8630-CA14442931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A54CC1-189D-414A-B50C-A05764C42319}" type="datetimeFigureOut">
              <a:rPr lang="ru-RU" smtClean="0"/>
              <a:t>19.05.2023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96132DB-27BB-4B29-A4D7-C43E332755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393177A-6F51-4799-B940-A0F633B468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8D7B7F-3AFC-4755-B62F-F48524B8F362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394778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9C0A176-C313-4BBC-B144-3669F511DE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33F46382-F641-470F-B6A4-47F3E7B252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675389B-EB50-4C03-8F74-2F9C36C77F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A54CC1-189D-414A-B50C-A05764C42319}" type="datetimeFigureOut">
              <a:rPr lang="ru-RU" smtClean="0"/>
              <a:t>19.05.2023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C0A19F01-91CF-47D9-AA79-DD4740DB82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23C90D1-863C-471C-845B-FB67B79056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8D7B7F-3AFC-4755-B62F-F48524B8F362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057406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D6857C2-B4FF-495D-8826-B974227D71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3F1CDC5C-0210-4802-A619-8D1A3055511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98332ADE-2967-4442-B952-49840E40C5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54DC5E9E-E2B3-42D9-B084-6878AF758E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A54CC1-189D-414A-B50C-A05764C42319}" type="datetimeFigureOut">
              <a:rPr lang="ru-RU" smtClean="0"/>
              <a:t>19.05.2023</a:t>
            </a:fld>
            <a:endParaRPr lang="ru-RU" dirty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BEC91D56-7A93-4B0D-96D0-C604FE45A5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04A04CEB-2CBA-4133-9211-0F423CEB8B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8D7B7F-3AFC-4755-B62F-F48524B8F362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74668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DF3134E-3A80-4323-AD78-E91F4B444B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B610A940-5F01-438A-A311-A87B5F8C53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7DBBB953-6106-4448-A702-04A84B993DF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98A330B7-7178-4FC6-8F6E-84F4792AD60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F8A6080D-137B-4808-AFA6-81464D1702E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75CCB38B-2475-47EA-9129-D7E1F5026E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A54CC1-189D-414A-B50C-A05764C42319}" type="datetimeFigureOut">
              <a:rPr lang="ru-RU" smtClean="0"/>
              <a:t>19.05.2023</a:t>
            </a:fld>
            <a:endParaRPr lang="ru-RU" dirty="0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19732DCC-355E-48BC-9045-433BB41D24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8BC94CF0-1A54-4AEE-925E-8721FAFC15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8D7B7F-3AFC-4755-B62F-F48524B8F362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888600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32AA4A1-28E5-4421-A8E3-517603C87A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8692E79A-E3B6-4CC4-8BA9-39096D60FE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A54CC1-189D-414A-B50C-A05764C42319}" type="datetimeFigureOut">
              <a:rPr lang="ru-RU" smtClean="0"/>
              <a:t>19.05.2023</a:t>
            </a:fld>
            <a:endParaRPr lang="ru-RU" dirty="0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4A683FAB-3B1E-490F-BDA5-B3FF17DD6F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FB825FF9-60F5-4832-A378-7C328A9AB4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8D7B7F-3AFC-4755-B62F-F48524B8F362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284644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2D60C821-4318-4453-9AE7-20EBC34067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A54CC1-189D-414A-B50C-A05764C42319}" type="datetimeFigureOut">
              <a:rPr lang="ru-RU" smtClean="0"/>
              <a:t>19.05.2023</a:t>
            </a:fld>
            <a:endParaRPr lang="ru-RU" dirty="0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AEBCADC9-094B-4C29-830A-AE22990D50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3FBB9BBF-689F-40B6-8E4D-CA15AA6CB9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8D7B7F-3AFC-4755-B62F-F48524B8F362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54344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7A773AE-6076-4B59-ADEA-82E5EBEA91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DB0C928E-E9B3-45C9-A604-0FF1DF3878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B4522346-953F-4532-9550-2EE1BB6B99A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9AEB19E0-1443-4EC8-8ACF-1F137E9391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A54CC1-189D-414A-B50C-A05764C42319}" type="datetimeFigureOut">
              <a:rPr lang="ru-RU" smtClean="0"/>
              <a:t>19.05.2023</a:t>
            </a:fld>
            <a:endParaRPr lang="ru-RU" dirty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807FA643-4D31-4AC3-9291-591B31FE63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F77E4EB1-20ED-477F-A643-B258FB8BFE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8D7B7F-3AFC-4755-B62F-F48524B8F362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484705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8E14AB4-B757-4115-BFB5-95EDAFE839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E13DE86F-722D-4437-837B-9C221720577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5A231F0-1C44-4A34-9BEF-C14271D9B9A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4F7287A4-A16D-4B3B-A253-9022B20E98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A54CC1-189D-414A-B50C-A05764C42319}" type="datetimeFigureOut">
              <a:rPr lang="ru-RU" smtClean="0"/>
              <a:t>19.05.2023</a:t>
            </a:fld>
            <a:endParaRPr lang="ru-RU" dirty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1237F14C-7A06-4433-B2E7-117C4DA81A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49617EB4-DB7F-41FB-A50B-1F624A76C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8D7B7F-3AFC-4755-B62F-F48524B8F362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704317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6856B1B-A137-4FEB-80F3-FC140A8591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4995B8C5-049A-4A46-B20F-5DB0A516C5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0CA35CA-5F6B-44C3-9A48-AB8C94B9D39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A54CC1-189D-414A-B50C-A05764C42319}" type="datetimeFigureOut">
              <a:rPr lang="ru-RU" smtClean="0"/>
              <a:t>19.05.2023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AE0A8B2-5966-404B-846B-60D609D477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5988B395-BDC8-4A91-8D5B-A87155CF1F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18D7B7F-3AFC-4755-B62F-F48524B8F362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58197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13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4.pn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1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1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1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image" Target="../media/image55.jpg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 descr="Изображение выглядит как текст, Шрифт, снимок экрана, визитная карточка&#10;&#10;Автоматически созданное описание">
            <a:extLst>
              <a:ext uri="{FF2B5EF4-FFF2-40B4-BE49-F238E27FC236}">
                <a16:creationId xmlns:a16="http://schemas.microsoft.com/office/drawing/2014/main" id="{7FF0660D-CC94-0112-9245-8175012A67F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940980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51948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911846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528406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467198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Рисунок 4" descr="Изображение выглядит как одежда, человек, на открытом воздухе, небо&#10;&#10;Автоматически созданное описание">
            <a:extLst>
              <a:ext uri="{FF2B5EF4-FFF2-40B4-BE49-F238E27FC236}">
                <a16:creationId xmlns:a16="http://schemas.microsoft.com/office/drawing/2014/main" id="{5977938C-4F27-F4B3-004D-C1FEA5F54E6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0110" y="1069060"/>
            <a:ext cx="8111780" cy="5166432"/>
          </a:xfrm>
          <a:prstGeom prst="roundRect">
            <a:avLst>
              <a:gd name="adj" fmla="val 8801"/>
            </a:avLst>
          </a:prstGeom>
        </p:spPr>
      </p:pic>
    </p:spTree>
    <p:extLst>
      <p:ext uri="{BB962C8B-B14F-4D97-AF65-F5344CB8AC3E}">
        <p14:creationId xmlns:p14="http://schemas.microsoft.com/office/powerpoint/2010/main" val="128202633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615647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59204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Chart&#10;&#10;Description automatically generated">
            <a:extLst>
              <a:ext uri="{FF2B5EF4-FFF2-40B4-BE49-F238E27FC236}">
                <a16:creationId xmlns:a16="http://schemas.microsoft.com/office/drawing/2014/main" id="{2C777DC4-F2F5-AD7F-A5E5-C76B5DBAC3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6850" y="0"/>
            <a:ext cx="97155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148959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077895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90134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031398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 descr="Изображение выглядит как текст, снимок экрана, Шрифт&#10;&#10;Автоматически созданное описание">
            <a:extLst>
              <a:ext uri="{FF2B5EF4-FFF2-40B4-BE49-F238E27FC236}">
                <a16:creationId xmlns:a16="http://schemas.microsoft.com/office/drawing/2014/main" id="{B287E11E-EA67-11E5-9107-19B5F357A3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49673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4803995-42BC-5BF8-85CA-B25E34D3360F}"/>
              </a:ext>
            </a:extLst>
          </p:cNvPr>
          <p:cNvSpPr txBox="1"/>
          <p:nvPr/>
        </p:nvSpPr>
        <p:spPr>
          <a:xfrm>
            <a:off x="8200104" y="1873045"/>
            <a:ext cx="421803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highlight>
                  <a:srgbClr val="FFFF00"/>
                </a:highlight>
              </a:rPr>
              <a:t>УБРАТЬ ВОЗДУХ</a:t>
            </a:r>
          </a:p>
          <a:p>
            <a:r>
              <a:rPr lang="ru-RU" dirty="0">
                <a:highlight>
                  <a:srgbClr val="FFFF00"/>
                </a:highlight>
              </a:rPr>
              <a:t>Поправить: ЗЕМЛИ, ПРЕСНОЙ ВОДЫ</a:t>
            </a:r>
          </a:p>
        </p:txBody>
      </p:sp>
    </p:spTree>
    <p:extLst>
      <p:ext uri="{BB962C8B-B14F-4D97-AF65-F5344CB8AC3E}">
        <p14:creationId xmlns:p14="http://schemas.microsoft.com/office/powerpoint/2010/main" val="389011700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454021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4242C298-97DD-C516-09AA-DB0917E7F60C}"/>
              </a:ext>
            </a:extLst>
          </p:cNvPr>
          <p:cNvSpPr txBox="1"/>
          <p:nvPr/>
        </p:nvSpPr>
        <p:spPr>
          <a:xfrm>
            <a:off x="5279923" y="4070555"/>
            <a:ext cx="36281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highlight>
                  <a:srgbClr val="FFFF00"/>
                </a:highlight>
              </a:rPr>
              <a:t>Убрать слово ПРОДОВОЛЬСТВИЕ</a:t>
            </a:r>
          </a:p>
        </p:txBody>
      </p:sp>
    </p:spTree>
    <p:extLst>
      <p:ext uri="{BB962C8B-B14F-4D97-AF65-F5344CB8AC3E}">
        <p14:creationId xmlns:p14="http://schemas.microsoft.com/office/powerpoint/2010/main" val="176108539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503999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62893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CFC4453-9C5A-A8C5-53C6-6030C4EECAD1}"/>
              </a:ext>
            </a:extLst>
          </p:cNvPr>
          <p:cNvSpPr txBox="1"/>
          <p:nvPr/>
        </p:nvSpPr>
        <p:spPr>
          <a:xfrm>
            <a:off x="5147188" y="2757948"/>
            <a:ext cx="44540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highlight>
                  <a:srgbClr val="FFFF00"/>
                </a:highlight>
              </a:rPr>
              <a:t>(в Юго-Восточной Азии и Африке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8E3829F-5474-E001-ED53-BB11A8DA05E5}"/>
              </a:ext>
            </a:extLst>
          </p:cNvPr>
          <p:cNvSpPr txBox="1"/>
          <p:nvPr/>
        </p:nvSpPr>
        <p:spPr>
          <a:xfrm>
            <a:off x="7202130" y="3407555"/>
            <a:ext cx="44540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highlight>
                  <a:srgbClr val="FFFF00"/>
                </a:highlight>
              </a:rPr>
              <a:t>Борьба за здоровье Природы (снижение нагрузки на единицу природы)</a:t>
            </a:r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4B33568F-06CB-068B-8DD3-D1D4FD6C975D}"/>
              </a:ext>
            </a:extLst>
          </p:cNvPr>
          <p:cNvCxnSpPr/>
          <p:nvPr/>
        </p:nvCxnSpPr>
        <p:spPr>
          <a:xfrm flipH="1" flipV="1">
            <a:off x="634181" y="3569109"/>
            <a:ext cx="6228000" cy="288000"/>
          </a:xfrm>
          <a:prstGeom prst="line">
            <a:avLst/>
          </a:prstGeom>
          <a:ln w="412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529742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cxnSp>
        <p:nvCxnSpPr>
          <p:cNvPr id="2" name="Прямая соединительная линия 1">
            <a:extLst>
              <a:ext uri="{FF2B5EF4-FFF2-40B4-BE49-F238E27FC236}">
                <a16:creationId xmlns:a16="http://schemas.microsoft.com/office/drawing/2014/main" id="{075127E7-56E4-53B6-04E8-D50E973AD744}"/>
              </a:ext>
            </a:extLst>
          </p:cNvPr>
          <p:cNvCxnSpPr>
            <a:cxnSpLocks/>
          </p:cNvCxnSpPr>
          <p:nvPr/>
        </p:nvCxnSpPr>
        <p:spPr>
          <a:xfrm flipH="1">
            <a:off x="973394" y="5766618"/>
            <a:ext cx="5122606" cy="0"/>
          </a:xfrm>
          <a:prstGeom prst="line">
            <a:avLst/>
          </a:prstGeom>
          <a:ln w="412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5607949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535119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44586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340477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540159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Рисунок 3" descr="Изображение выглядит как белый, дизайн&#10;&#10;Автоматически созданное описание">
            <a:extLst>
              <a:ext uri="{FF2B5EF4-FFF2-40B4-BE49-F238E27FC236}">
                <a16:creationId xmlns:a16="http://schemas.microsoft.com/office/drawing/2014/main" id="{D68D66BB-C85C-0119-BA76-8DBA8D09BAC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0876" y="262193"/>
            <a:ext cx="1899059" cy="96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337724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743688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162439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623426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725801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50748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725903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D00A37A-C67B-8FC7-E6FB-1A02CD3B5355}"/>
              </a:ext>
            </a:extLst>
          </p:cNvPr>
          <p:cNvSpPr txBox="1"/>
          <p:nvPr/>
        </p:nvSpPr>
        <p:spPr>
          <a:xfrm>
            <a:off x="1784555" y="5102942"/>
            <a:ext cx="828859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dirty="0">
                <a:highlight>
                  <a:srgbClr val="FFFF00"/>
                </a:highlight>
              </a:rPr>
              <a:t>ГОРОДСКОЙ ДИЕТОЙ</a:t>
            </a:r>
          </a:p>
        </p:txBody>
      </p:sp>
    </p:spTree>
    <p:extLst>
      <p:ext uri="{BB962C8B-B14F-4D97-AF65-F5344CB8AC3E}">
        <p14:creationId xmlns:p14="http://schemas.microsoft.com/office/powerpoint/2010/main" val="272187813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Рисунок 8" descr="Изображение выглядит как одежда, человек, на открытом воздухе, небо&#10;&#10;Автоматически созданное описание">
            <a:extLst>
              <a:ext uri="{FF2B5EF4-FFF2-40B4-BE49-F238E27FC236}">
                <a16:creationId xmlns:a16="http://schemas.microsoft.com/office/drawing/2014/main" id="{BA44A754-6E4B-0A6C-C236-6FCDC871062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6651" y="2668355"/>
            <a:ext cx="3344186" cy="2129928"/>
          </a:xfrm>
          <a:prstGeom prst="roundRect">
            <a:avLst>
              <a:gd name="adj" fmla="val 13089"/>
            </a:avLst>
          </a:prstGeom>
        </p:spPr>
      </p:pic>
    </p:spTree>
    <p:extLst>
      <p:ext uri="{BB962C8B-B14F-4D97-AF65-F5344CB8AC3E}">
        <p14:creationId xmlns:p14="http://schemas.microsoft.com/office/powerpoint/2010/main" val="36200134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756443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Рисунок 8" descr="Изображение выглядит как одежда, человек, на открытом воздухе, небо&#10;&#10;Автоматически созданное описание">
            <a:extLst>
              <a:ext uri="{FF2B5EF4-FFF2-40B4-BE49-F238E27FC236}">
                <a16:creationId xmlns:a16="http://schemas.microsoft.com/office/drawing/2014/main" id="{BA44A754-6E4B-0A6C-C236-6FCDC871062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6651" y="2668355"/>
            <a:ext cx="3344186" cy="2129928"/>
          </a:xfrm>
          <a:prstGeom prst="roundRect">
            <a:avLst>
              <a:gd name="adj" fmla="val 13089"/>
            </a:avLst>
          </a:prstGeom>
        </p:spPr>
      </p:pic>
    </p:spTree>
    <p:extLst>
      <p:ext uri="{BB962C8B-B14F-4D97-AF65-F5344CB8AC3E}">
        <p14:creationId xmlns:p14="http://schemas.microsoft.com/office/powerpoint/2010/main" val="146976565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518518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260775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292147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5963102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5822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9201076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8500437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9848652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87127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4002154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FBBE7BE5-1962-28FE-C94C-555CC50922D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111" y="4202675"/>
            <a:ext cx="11547332" cy="1622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6967651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893023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 descr="Изображение выглядит как текст, Шрифт, снимок экрана, плакат&#10;&#10;Автоматически созданное описание">
            <a:extLst>
              <a:ext uri="{FF2B5EF4-FFF2-40B4-BE49-F238E27FC236}">
                <a16:creationId xmlns:a16="http://schemas.microsoft.com/office/drawing/2014/main" id="{8D1D97D9-975B-6917-E8DA-F77A32DC0A1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7545" y="643465"/>
            <a:ext cx="3762423" cy="5571066"/>
          </a:xfrm>
          <a:prstGeom prst="rect">
            <a:avLst/>
          </a:prstGeom>
        </p:spPr>
      </p:pic>
      <p:pic>
        <p:nvPicPr>
          <p:cNvPr id="8" name="Рисунок 7" descr="Изображение выглядит как Человеческое лицо, человек, одежда, улыбка&#10;&#10;Автоматически созданное описание">
            <a:extLst>
              <a:ext uri="{FF2B5EF4-FFF2-40B4-BE49-F238E27FC236}">
                <a16:creationId xmlns:a16="http://schemas.microsoft.com/office/drawing/2014/main" id="{B08B39EA-18A8-C2AA-FD49-FD64DB5D037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9537" y="1662905"/>
            <a:ext cx="5291667" cy="35321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653533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 descr="Изображение выглядит как белый, дизайн&#10;&#10;Автоматически созданное описание">
            <a:extLst>
              <a:ext uri="{FF2B5EF4-FFF2-40B4-BE49-F238E27FC236}">
                <a16:creationId xmlns:a16="http://schemas.microsoft.com/office/drawing/2014/main" id="{A4617E64-47F8-953D-604F-800664C8FB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384" y="5260668"/>
            <a:ext cx="5099324" cy="1361358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221021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 descr="Изображение выглядит как белый, дизайн&#10;&#10;Автоматически созданное описание">
            <a:extLst>
              <a:ext uri="{FF2B5EF4-FFF2-40B4-BE49-F238E27FC236}">
                <a16:creationId xmlns:a16="http://schemas.microsoft.com/office/drawing/2014/main" id="{A4617E64-47F8-953D-604F-800664C8FB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384" y="5260668"/>
            <a:ext cx="5099324" cy="1361358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8424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36942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26250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93818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B592991D-9869-A193-307E-C7C93D129F6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30027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4233</TotalTime>
  <Words>348</Words>
  <Application>Microsoft Macintosh PowerPoint</Application>
  <PresentationFormat>Широкоэкранный</PresentationFormat>
  <Paragraphs>56</Paragraphs>
  <Slides>54</Slides>
  <Notes>1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4</vt:i4>
      </vt:variant>
    </vt:vector>
  </HeadingPairs>
  <TitlesOfParts>
    <vt:vector size="60" baseType="lpstr">
      <vt:lpstr>Arial</vt:lpstr>
      <vt:lpstr>Calibri</vt:lpstr>
      <vt:lpstr>Calibri Light</vt:lpstr>
      <vt:lpstr>Helvetica Neue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Михаил Воронин</dc:creator>
  <cp:lastModifiedBy>Иванов Сергей Николаевич</cp:lastModifiedBy>
  <cp:revision>172</cp:revision>
  <cp:lastPrinted>2023-03-20T13:42:12Z</cp:lastPrinted>
  <dcterms:created xsi:type="dcterms:W3CDTF">2023-03-04T11:15:26Z</dcterms:created>
  <dcterms:modified xsi:type="dcterms:W3CDTF">2023-05-19T20:47:36Z</dcterms:modified>
</cp:coreProperties>
</file>